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2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r>
              <a:rPr lang="da-DK" sz="2300" dirty="0"/>
              <a:t>Hvem lytter vi til? Hvad bygger vi på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2383736"/>
            <a:ext cx="4791304" cy="2493064"/>
          </a:xfrm>
        </p:spPr>
        <p:txBody>
          <a:bodyPr>
            <a:noAutofit/>
          </a:bodyPr>
          <a:lstStyle/>
          <a:p>
            <a:r>
              <a:rPr lang="da-DK" sz="1100" dirty="0"/>
              <a:t>Talen vil rumme en formaning til at holde alt det, Jesus siger. Baggrunden er, at vi hele tiden fristes til kun at høre det, vi gerne vil høre.</a:t>
            </a:r>
          </a:p>
          <a:p>
            <a:r>
              <a:rPr lang="da-DK" sz="1100" dirty="0"/>
              <a:t>At høre er vigtigt! Men høre uden at gøre hjælper os ikke. </a:t>
            </a:r>
          </a:p>
          <a:p>
            <a:r>
              <a:rPr lang="da-DK" sz="1100" dirty="0"/>
              <a:t>Afslutningen rummer en opfordring til både at høre og gøre. Opfordringen motiveres af fremtiden, som altid rummer storme og udfordringer. </a:t>
            </a:r>
            <a:endParaRPr lang="da-DK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Matt 7,21-27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Vi skal lytte opmærksomt og handle på Jesu ord. Den der bygger på Jesus og hans ord, bliver frels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859763"/>
          </a:xfrm>
        </p:spPr>
        <p:txBody>
          <a:bodyPr/>
          <a:lstStyle/>
          <a:p>
            <a:r>
              <a:rPr lang="da-DK" sz="1200" dirty="0"/>
              <a:t>1. Er der nogle områder, hvor vi særligt står i fare for at frasortere de ord af Jesus, vi ikke bryder os om? </a:t>
            </a:r>
          </a:p>
          <a:p>
            <a:r>
              <a:rPr lang="da-DK" sz="1200" dirty="0"/>
              <a:t>Tag en runde hvor hver enkelt får mulighed for at dele personlige erfaringer fra perioder, hvor tvivlens, lidelsens eller ligegyldighedens storme ramte troen. Hvad hjalp?</a:t>
            </a:r>
          </a:p>
          <a:p>
            <a:r>
              <a:rPr lang="da-DK" sz="1200" dirty="0"/>
              <a:t>Fortæl dit bedste råd til den, der lige nu oplever storme i livet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r>
              <a:rPr lang="da-DK" sz="1100" dirty="0"/>
              <a:t>En bøn om at Gud vil beskytte os mod at være selektive i vores bibellæsning og lydighed.</a:t>
            </a:r>
          </a:p>
          <a:p>
            <a:r>
              <a:rPr lang="da-DK" sz="1100" dirty="0"/>
              <a:t>En tak for at Jesu ord består – også når himmel og jord forgår.</a:t>
            </a:r>
          </a:p>
          <a:p>
            <a:r>
              <a:rPr lang="da-DK" sz="1100" dirty="0"/>
              <a:t>En bøn om at Gud vil velsigne os med ører, der hører </a:t>
            </a:r>
            <a:r>
              <a:rPr lang="da-DK" sz="1100"/>
              <a:t>og fødder, der går på Guds vej.</a:t>
            </a:r>
            <a:endParaRPr lang="da-DK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54</TotalTime>
  <Words>230</Words>
  <Application>Microsoft Macintosh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Hvem lytter vi til? Hvad bygger vi på?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Microsoft Office-bruger</cp:lastModifiedBy>
  <cp:revision>114</cp:revision>
  <dcterms:created xsi:type="dcterms:W3CDTF">2019-08-19T18:08:22Z</dcterms:created>
  <dcterms:modified xsi:type="dcterms:W3CDTF">2020-10-21T10:5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